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49"/>
  </p:notesMasterIdLst>
  <p:sldIdLst>
    <p:sldId id="256" r:id="rId2"/>
    <p:sldId id="307" r:id="rId3"/>
    <p:sldId id="309" r:id="rId4"/>
    <p:sldId id="261" r:id="rId5"/>
    <p:sldId id="304" r:id="rId6"/>
    <p:sldId id="301" r:id="rId7"/>
    <p:sldId id="302" r:id="rId8"/>
    <p:sldId id="308" r:id="rId9"/>
    <p:sldId id="303" r:id="rId10"/>
    <p:sldId id="305" r:id="rId11"/>
    <p:sldId id="306" r:id="rId12"/>
    <p:sldId id="312" r:id="rId13"/>
    <p:sldId id="311" r:id="rId14"/>
    <p:sldId id="310" r:id="rId15"/>
    <p:sldId id="322" r:id="rId16"/>
    <p:sldId id="323" r:id="rId17"/>
    <p:sldId id="324" r:id="rId18"/>
    <p:sldId id="325" r:id="rId19"/>
    <p:sldId id="326" r:id="rId20"/>
    <p:sldId id="329" r:id="rId21"/>
    <p:sldId id="330" r:id="rId22"/>
    <p:sldId id="293" r:id="rId23"/>
    <p:sldId id="316" r:id="rId24"/>
    <p:sldId id="317" r:id="rId25"/>
    <p:sldId id="318" r:id="rId26"/>
    <p:sldId id="314" r:id="rId27"/>
    <p:sldId id="319" r:id="rId28"/>
    <p:sldId id="332" r:id="rId29"/>
    <p:sldId id="336" r:id="rId30"/>
    <p:sldId id="334" r:id="rId31"/>
    <p:sldId id="333" r:id="rId32"/>
    <p:sldId id="337" r:id="rId33"/>
    <p:sldId id="315" r:id="rId34"/>
    <p:sldId id="328" r:id="rId35"/>
    <p:sldId id="327" r:id="rId36"/>
    <p:sldId id="331" r:id="rId37"/>
    <p:sldId id="313" r:id="rId38"/>
    <p:sldId id="291" r:id="rId39"/>
    <p:sldId id="281" r:id="rId40"/>
    <p:sldId id="298" r:id="rId41"/>
    <p:sldId id="292" r:id="rId42"/>
    <p:sldId id="287" r:id="rId43"/>
    <p:sldId id="284" r:id="rId44"/>
    <p:sldId id="296" r:id="rId45"/>
    <p:sldId id="294" r:id="rId46"/>
    <p:sldId id="283" r:id="rId47"/>
    <p:sldId id="297" r:id="rId48"/>
  </p:sldIdLst>
  <p:sldSz cx="9144000" cy="6858000" type="screen4x3"/>
  <p:notesSz cx="6797675" cy="9926638"/>
  <p:embeddedFontLst>
    <p:embeddedFont>
      <p:font typeface="Wingdings 3" panose="05040102010807070707" pitchFamily="18" charset="2"/>
      <p:regular r:id="rId50"/>
    </p:embeddedFont>
    <p:embeddedFont>
      <p:font typeface="Calibri" panose="020F0502020204030204" pitchFamily="34" charset="0"/>
      <p:regular r:id="rId51"/>
      <p:bold r:id="rId52"/>
      <p:italic r:id="rId53"/>
      <p:boldItalic r:id="rId54"/>
    </p:embeddedFont>
    <p:embeddedFont>
      <p:font typeface="Technika" panose="020B0604020202020204" charset="-18"/>
      <p:regular r:id="rId55"/>
      <p:bold r:id="rId56"/>
      <p:italic r:id="rId57"/>
      <p:boldItalic r:id="rId58"/>
    </p:embeddedFont>
    <p:embeddedFont>
      <p:font typeface="Technika-Bold" panose="00000600000000000000" charset="-18"/>
      <p:regular r:id="rId59"/>
    </p:embeddedFont>
  </p:embeddedFontLst>
  <p:custDataLst>
    <p:tags r:id="rId6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09"/>
            <p14:sldId id="261"/>
            <p14:sldId id="304"/>
            <p14:sldId id="301"/>
            <p14:sldId id="302"/>
            <p14:sldId id="308"/>
            <p14:sldId id="303"/>
            <p14:sldId id="305"/>
            <p14:sldId id="306"/>
            <p14:sldId id="312"/>
            <p14:sldId id="311"/>
            <p14:sldId id="310"/>
            <p14:sldId id="322"/>
            <p14:sldId id="323"/>
            <p14:sldId id="324"/>
            <p14:sldId id="325"/>
            <p14:sldId id="326"/>
            <p14:sldId id="329"/>
            <p14:sldId id="330"/>
          </p14:sldIdLst>
        </p14:section>
        <p14:section name="Analysis" id="{52C9AC46-E335-43CB-A8BC-91DD97DD8E8E}">
          <p14:sldIdLst>
            <p14:sldId id="293"/>
            <p14:sldId id="316"/>
            <p14:sldId id="317"/>
            <p14:sldId id="318"/>
          </p14:sldIdLst>
        </p14:section>
        <p14:section name="Development" id="{75BCC440-8BB1-4477-BE93-38A0687BA19E}">
          <p14:sldIdLst>
            <p14:sldId id="314"/>
            <p14:sldId id="319"/>
            <p14:sldId id="332"/>
            <p14:sldId id="336"/>
            <p14:sldId id="334"/>
            <p14:sldId id="333"/>
            <p14:sldId id="337"/>
          </p14:sldIdLst>
        </p14:section>
        <p14:section name="Testing" id="{54E20A49-CE7C-49C4-9E53-47302E683C92}">
          <p14:sldIdLst>
            <p14:sldId id="315"/>
            <p14:sldId id="328"/>
          </p14:sldIdLst>
        </p14:section>
        <p14:section name="Final" id="{F67AE7F7-9C4A-4AAD-8DB1-568421EDA0E5}">
          <p14:sldIdLst>
            <p14:sldId id="327"/>
            <p14:sldId id="331"/>
          </p14:sldIdLst>
        </p14:section>
        <p14:section name="Old" id="{64373762-BFBB-4C3D-8FEC-C8D6DA599794}">
          <p14:sldIdLst>
            <p14:sldId id="313"/>
            <p14:sldId id="291"/>
            <p14:sldId id="281"/>
            <p14:sldId id="298"/>
            <p14:sldId id="292"/>
            <p14:sldId id="287"/>
            <p14:sldId id="284"/>
            <p14:sldId id="296"/>
            <p14:sldId id="294"/>
            <p14:sldId id="283"/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714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font" Target="fonts/font1.fntdata"/><Relationship Id="rId55" Type="http://schemas.openxmlformats.org/officeDocument/2006/relationships/font" Target="fonts/font6.fntdata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4.fntdata"/><Relationship Id="rId58" Type="http://schemas.openxmlformats.org/officeDocument/2006/relationships/font" Target="fonts/font9.fntdata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7.fntdata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font" Target="fonts/font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10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5.fntdata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57" Type="http://schemas.openxmlformats.org/officeDocument/2006/relationships/font" Target="fonts/font8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3.fntdata"/><Relationship Id="rId6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5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6D4022A1-046E-47F7-851D-25BD72CC9313}" type="slidenum">
              <a:t>33</a:t>
            </a:fld>
            <a:endParaRPr lang="en-US"/>
          </a:p>
        </p:txBody>
      </p:sp>
      <p:sp>
        <p:nvSpPr>
          <p:cNvPr id="2" name="Slide Image Placeholder 1"/>
          <p:cNvSpPr>
            <a:spLocks noGrp="1" noRot="1" noChangeAspect="1" noResize="1"/>
          </p:cNvSpPr>
          <p:nvPr>
            <p:ph type="sldImg"/>
          </p:nvPr>
        </p:nvSpPr>
        <p:spPr>
          <a:xfrm>
            <a:off x="1371600" y="763588"/>
            <a:ext cx="5029200" cy="3771900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es Placeholder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95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171" y="6247906"/>
            <a:ext cx="2130093" cy="472896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7054" y="6247906"/>
            <a:ext cx="2898142" cy="472896"/>
          </a:xfrm>
          <a:prstGeom prst="rect">
            <a:avLst/>
          </a:prstGeom>
        </p:spPr>
        <p:txBody>
          <a:bodyPr/>
          <a:lstStyle/>
          <a:p>
            <a:pPr lv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5842" y="6247906"/>
            <a:ext cx="2130093" cy="472896"/>
          </a:xfrm>
          <a:prstGeom prst="rect">
            <a:avLst/>
          </a:prstGeom>
        </p:spPr>
        <p:txBody>
          <a:bodyPr/>
          <a:lstStyle/>
          <a:p>
            <a:pPr lvl="0"/>
            <a:fld id="{CCCDE0D6-C4D7-4B8C-9CF2-F1637680263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160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May</a:t>
            </a:r>
            <a:r>
              <a:rPr lang="cs-CZ" sz="1400" baseline="0" dirty="0" smtClean="0"/>
              <a:t> 22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6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1.xml"/><Relationship Id="rId7" Type="http://schemas.openxmlformats.org/officeDocument/2006/relationships/image" Target="../media/image15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5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5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5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5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6" Type="http://schemas.openxmlformats.org/officeDocument/2006/relationships/tags" Target="../tags/tag80.xml"/><Relationship Id="rId21" Type="http://schemas.openxmlformats.org/officeDocument/2006/relationships/tags" Target="../tags/tag75.xml"/><Relationship Id="rId42" Type="http://schemas.openxmlformats.org/officeDocument/2006/relationships/tags" Target="../tags/tag96.xml"/><Relationship Id="rId47" Type="http://schemas.openxmlformats.org/officeDocument/2006/relationships/tags" Target="../tags/tag101.xml"/><Relationship Id="rId63" Type="http://schemas.openxmlformats.org/officeDocument/2006/relationships/tags" Target="../tags/tag117.xml"/><Relationship Id="rId68" Type="http://schemas.openxmlformats.org/officeDocument/2006/relationships/tags" Target="../tags/tag122.xml"/><Relationship Id="rId84" Type="http://schemas.openxmlformats.org/officeDocument/2006/relationships/tags" Target="../tags/tag138.xml"/><Relationship Id="rId89" Type="http://schemas.openxmlformats.org/officeDocument/2006/relationships/tags" Target="../tags/tag143.xml"/><Relationship Id="rId16" Type="http://schemas.openxmlformats.org/officeDocument/2006/relationships/tags" Target="../tags/tag70.xml"/><Relationship Id="rId107" Type="http://schemas.openxmlformats.org/officeDocument/2006/relationships/tags" Target="../tags/tag161.xml"/><Relationship Id="rId11" Type="http://schemas.openxmlformats.org/officeDocument/2006/relationships/tags" Target="../tags/tag65.xml"/><Relationship Id="rId32" Type="http://schemas.openxmlformats.org/officeDocument/2006/relationships/tags" Target="../tags/tag86.xml"/><Relationship Id="rId37" Type="http://schemas.openxmlformats.org/officeDocument/2006/relationships/tags" Target="../tags/tag91.xml"/><Relationship Id="rId53" Type="http://schemas.openxmlformats.org/officeDocument/2006/relationships/tags" Target="../tags/tag107.xml"/><Relationship Id="rId58" Type="http://schemas.openxmlformats.org/officeDocument/2006/relationships/tags" Target="../tags/tag112.xml"/><Relationship Id="rId74" Type="http://schemas.openxmlformats.org/officeDocument/2006/relationships/tags" Target="../tags/tag128.xml"/><Relationship Id="rId79" Type="http://schemas.openxmlformats.org/officeDocument/2006/relationships/tags" Target="../tags/tag133.xml"/><Relationship Id="rId102" Type="http://schemas.openxmlformats.org/officeDocument/2006/relationships/tags" Target="../tags/tag156.xml"/><Relationship Id="rId5" Type="http://schemas.openxmlformats.org/officeDocument/2006/relationships/tags" Target="../tags/tag59.xml"/><Relationship Id="rId90" Type="http://schemas.openxmlformats.org/officeDocument/2006/relationships/tags" Target="../tags/tag144.xml"/><Relationship Id="rId95" Type="http://schemas.openxmlformats.org/officeDocument/2006/relationships/tags" Target="../tags/tag149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43" Type="http://schemas.openxmlformats.org/officeDocument/2006/relationships/tags" Target="../tags/tag97.xml"/><Relationship Id="rId48" Type="http://schemas.openxmlformats.org/officeDocument/2006/relationships/tags" Target="../tags/tag102.xml"/><Relationship Id="rId64" Type="http://schemas.openxmlformats.org/officeDocument/2006/relationships/tags" Target="../tags/tag118.xml"/><Relationship Id="rId69" Type="http://schemas.openxmlformats.org/officeDocument/2006/relationships/tags" Target="../tags/tag123.xml"/><Relationship Id="rId80" Type="http://schemas.openxmlformats.org/officeDocument/2006/relationships/tags" Target="../tags/tag134.xml"/><Relationship Id="rId85" Type="http://schemas.openxmlformats.org/officeDocument/2006/relationships/tags" Target="../tags/tag139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59" Type="http://schemas.openxmlformats.org/officeDocument/2006/relationships/tags" Target="../tags/tag113.xml"/><Relationship Id="rId103" Type="http://schemas.openxmlformats.org/officeDocument/2006/relationships/tags" Target="../tags/tag157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108.xml"/><Relationship Id="rId70" Type="http://schemas.openxmlformats.org/officeDocument/2006/relationships/tags" Target="../tags/tag124.xml"/><Relationship Id="rId75" Type="http://schemas.openxmlformats.org/officeDocument/2006/relationships/tags" Target="../tags/tag129.xml"/><Relationship Id="rId91" Type="http://schemas.openxmlformats.org/officeDocument/2006/relationships/tags" Target="../tags/tag145.xml"/><Relationship Id="rId96" Type="http://schemas.openxmlformats.org/officeDocument/2006/relationships/tags" Target="../tags/tag150.xml"/><Relationship Id="rId1" Type="http://schemas.openxmlformats.org/officeDocument/2006/relationships/vmlDrawing" Target="../drawings/vmlDrawing29.vml"/><Relationship Id="rId6" Type="http://schemas.openxmlformats.org/officeDocument/2006/relationships/tags" Target="../tags/tag60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49" Type="http://schemas.openxmlformats.org/officeDocument/2006/relationships/tags" Target="../tags/tag103.xml"/><Relationship Id="rId57" Type="http://schemas.openxmlformats.org/officeDocument/2006/relationships/tags" Target="../tags/tag111.xml"/><Relationship Id="rId106" Type="http://schemas.openxmlformats.org/officeDocument/2006/relationships/tags" Target="../tags/tag160.xml"/><Relationship Id="rId10" Type="http://schemas.openxmlformats.org/officeDocument/2006/relationships/tags" Target="../tags/tag64.xml"/><Relationship Id="rId31" Type="http://schemas.openxmlformats.org/officeDocument/2006/relationships/tags" Target="../tags/tag85.xml"/><Relationship Id="rId44" Type="http://schemas.openxmlformats.org/officeDocument/2006/relationships/tags" Target="../tags/tag98.xml"/><Relationship Id="rId52" Type="http://schemas.openxmlformats.org/officeDocument/2006/relationships/tags" Target="../tags/tag106.xml"/><Relationship Id="rId60" Type="http://schemas.openxmlformats.org/officeDocument/2006/relationships/tags" Target="../tags/tag114.xml"/><Relationship Id="rId65" Type="http://schemas.openxmlformats.org/officeDocument/2006/relationships/tags" Target="../tags/tag119.xml"/><Relationship Id="rId73" Type="http://schemas.openxmlformats.org/officeDocument/2006/relationships/tags" Target="../tags/tag127.xml"/><Relationship Id="rId78" Type="http://schemas.openxmlformats.org/officeDocument/2006/relationships/tags" Target="../tags/tag132.xml"/><Relationship Id="rId81" Type="http://schemas.openxmlformats.org/officeDocument/2006/relationships/tags" Target="../tags/tag135.xml"/><Relationship Id="rId86" Type="http://schemas.openxmlformats.org/officeDocument/2006/relationships/tags" Target="../tags/tag140.xml"/><Relationship Id="rId94" Type="http://schemas.openxmlformats.org/officeDocument/2006/relationships/tags" Target="../tags/tag148.xml"/><Relationship Id="rId99" Type="http://schemas.openxmlformats.org/officeDocument/2006/relationships/tags" Target="../tags/tag153.xml"/><Relationship Id="rId101" Type="http://schemas.openxmlformats.org/officeDocument/2006/relationships/tags" Target="../tags/tag155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9" Type="http://schemas.openxmlformats.org/officeDocument/2006/relationships/tags" Target="../tags/tag93.xml"/><Relationship Id="rId109" Type="http://schemas.openxmlformats.org/officeDocument/2006/relationships/oleObject" Target="../embeddings/oleObject29.bin"/><Relationship Id="rId34" Type="http://schemas.openxmlformats.org/officeDocument/2006/relationships/tags" Target="../tags/tag88.xml"/><Relationship Id="rId50" Type="http://schemas.openxmlformats.org/officeDocument/2006/relationships/tags" Target="../tags/tag104.xml"/><Relationship Id="rId55" Type="http://schemas.openxmlformats.org/officeDocument/2006/relationships/tags" Target="../tags/tag109.xml"/><Relationship Id="rId76" Type="http://schemas.openxmlformats.org/officeDocument/2006/relationships/tags" Target="../tags/tag130.xml"/><Relationship Id="rId97" Type="http://schemas.openxmlformats.org/officeDocument/2006/relationships/tags" Target="../tags/tag151.xml"/><Relationship Id="rId104" Type="http://schemas.openxmlformats.org/officeDocument/2006/relationships/tags" Target="../tags/tag158.xml"/><Relationship Id="rId7" Type="http://schemas.openxmlformats.org/officeDocument/2006/relationships/tags" Target="../tags/tag61.xml"/><Relationship Id="rId71" Type="http://schemas.openxmlformats.org/officeDocument/2006/relationships/tags" Target="../tags/tag125.xml"/><Relationship Id="rId92" Type="http://schemas.openxmlformats.org/officeDocument/2006/relationships/tags" Target="../tags/tag146.xml"/><Relationship Id="rId2" Type="http://schemas.openxmlformats.org/officeDocument/2006/relationships/tags" Target="../tags/tag56.xml"/><Relationship Id="rId29" Type="http://schemas.openxmlformats.org/officeDocument/2006/relationships/tags" Target="../tags/tag83.xml"/><Relationship Id="rId24" Type="http://schemas.openxmlformats.org/officeDocument/2006/relationships/tags" Target="../tags/tag78.xml"/><Relationship Id="rId40" Type="http://schemas.openxmlformats.org/officeDocument/2006/relationships/tags" Target="../tags/tag94.xml"/><Relationship Id="rId45" Type="http://schemas.openxmlformats.org/officeDocument/2006/relationships/tags" Target="../tags/tag99.xml"/><Relationship Id="rId66" Type="http://schemas.openxmlformats.org/officeDocument/2006/relationships/tags" Target="../tags/tag120.xml"/><Relationship Id="rId87" Type="http://schemas.openxmlformats.org/officeDocument/2006/relationships/tags" Target="../tags/tag141.xml"/><Relationship Id="rId110" Type="http://schemas.openxmlformats.org/officeDocument/2006/relationships/image" Target="../media/image1.emf"/><Relationship Id="rId61" Type="http://schemas.openxmlformats.org/officeDocument/2006/relationships/tags" Target="../tags/tag115.xml"/><Relationship Id="rId82" Type="http://schemas.openxmlformats.org/officeDocument/2006/relationships/tags" Target="../tags/tag136.xml"/><Relationship Id="rId19" Type="http://schemas.openxmlformats.org/officeDocument/2006/relationships/tags" Target="../tags/tag73.xml"/><Relationship Id="rId14" Type="http://schemas.openxmlformats.org/officeDocument/2006/relationships/tags" Target="../tags/tag68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56" Type="http://schemas.openxmlformats.org/officeDocument/2006/relationships/tags" Target="../tags/tag110.xml"/><Relationship Id="rId77" Type="http://schemas.openxmlformats.org/officeDocument/2006/relationships/tags" Target="../tags/tag131.xml"/><Relationship Id="rId100" Type="http://schemas.openxmlformats.org/officeDocument/2006/relationships/tags" Target="../tags/tag154.xml"/><Relationship Id="rId105" Type="http://schemas.openxmlformats.org/officeDocument/2006/relationships/tags" Target="../tags/tag159.xml"/><Relationship Id="rId8" Type="http://schemas.openxmlformats.org/officeDocument/2006/relationships/tags" Target="../tags/tag62.xml"/><Relationship Id="rId51" Type="http://schemas.openxmlformats.org/officeDocument/2006/relationships/tags" Target="../tags/tag105.xml"/><Relationship Id="rId72" Type="http://schemas.openxmlformats.org/officeDocument/2006/relationships/tags" Target="../tags/tag126.xml"/><Relationship Id="rId93" Type="http://schemas.openxmlformats.org/officeDocument/2006/relationships/tags" Target="../tags/tag147.xml"/><Relationship Id="rId98" Type="http://schemas.openxmlformats.org/officeDocument/2006/relationships/tags" Target="../tags/tag152.xml"/><Relationship Id="rId3" Type="http://schemas.openxmlformats.org/officeDocument/2006/relationships/tags" Target="../tags/tag57.xml"/><Relationship Id="rId25" Type="http://schemas.openxmlformats.org/officeDocument/2006/relationships/tags" Target="../tags/tag79.xml"/><Relationship Id="rId46" Type="http://schemas.openxmlformats.org/officeDocument/2006/relationships/tags" Target="../tags/tag100.xml"/><Relationship Id="rId67" Type="http://schemas.openxmlformats.org/officeDocument/2006/relationships/tags" Target="../tags/tag121.xml"/><Relationship Id="rId20" Type="http://schemas.openxmlformats.org/officeDocument/2006/relationships/tags" Target="../tags/tag74.xml"/><Relationship Id="rId41" Type="http://schemas.openxmlformats.org/officeDocument/2006/relationships/tags" Target="../tags/tag95.xml"/><Relationship Id="rId62" Type="http://schemas.openxmlformats.org/officeDocument/2006/relationships/tags" Target="../tags/tag116.xml"/><Relationship Id="rId83" Type="http://schemas.openxmlformats.org/officeDocument/2006/relationships/tags" Target="../tags/tag137.xml"/><Relationship Id="rId88" Type="http://schemas.openxmlformats.org/officeDocument/2006/relationships/tags" Target="../tags/tag14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15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15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15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2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6" y="272284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6" y="3033921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6" y="3344993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6" y="3656065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6" y="4265316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6" y="5185639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157554" y="3995712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5" name="clipart_tick"/>
          <p:cNvSpPr>
            <a:spLocks/>
          </p:cNvSpPr>
          <p:nvPr/>
        </p:nvSpPr>
        <p:spPr bwMode="gray">
          <a:xfrm>
            <a:off x="7157556" y="4576388"/>
            <a:ext cx="298350" cy="321571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6"/>
          <p:cNvGrpSpPr>
            <a:grpSpLocks noChangeAspect="1"/>
          </p:cNvGrpSpPr>
          <p:nvPr/>
        </p:nvGrpSpPr>
        <p:grpSpPr bwMode="auto">
          <a:xfrm>
            <a:off x="7157554" y="4916035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2" name="Group 6"/>
          <p:cNvGrpSpPr>
            <a:grpSpLocks noChangeAspect="1"/>
          </p:cNvGrpSpPr>
          <p:nvPr/>
        </p:nvGrpSpPr>
        <p:grpSpPr bwMode="auto">
          <a:xfrm>
            <a:off x="7157554" y="5525286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5" name="Group 6"/>
          <p:cNvGrpSpPr>
            <a:grpSpLocks noChangeAspect="1"/>
          </p:cNvGrpSpPr>
          <p:nvPr/>
        </p:nvGrpSpPr>
        <p:grpSpPr bwMode="auto">
          <a:xfrm>
            <a:off x="7157554" y="5823464"/>
            <a:ext cx="247705" cy="308678"/>
            <a:chOff x="2748" y="1996"/>
            <a:chExt cx="260" cy="324"/>
          </a:xfrm>
          <a:solidFill>
            <a:schemeClr val="accent1"/>
          </a:solidFill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6" name="Oval 5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28" name="Oval 2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29" name="Oval 2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30" name="Oval 2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31" name="Oval 3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32" name="Oval 3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33" name="Oval 3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34" name="Oval 3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35" name="Oval 3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36" name="Oval 3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37" name="Oval 3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isk log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2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4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tailed</a:t>
            </a:r>
            <a:r>
              <a:rPr lang="cs-CZ" dirty="0" smtClean="0"/>
              <a:t> </a:t>
            </a:r>
            <a:r>
              <a:rPr lang="cs-CZ" dirty="0" err="1" smtClean="0"/>
              <a:t>requirements</a:t>
            </a:r>
            <a:r>
              <a:rPr lang="cs-CZ" dirty="0" smtClean="0"/>
              <a:t>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3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5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 </a:t>
            </a:r>
            <a:r>
              <a:rPr lang="cs-CZ" dirty="0" err="1" smtClean="0"/>
              <a:t>specification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4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26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1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9517" y="2320199"/>
            <a:ext cx="4630028" cy="4047923"/>
          </a:xfrm>
          <a:prstGeom prst="rect">
            <a:avLst/>
          </a:prstGeom>
        </p:spPr>
      </p:pic>
      <p:sp>
        <p:nvSpPr>
          <p:cNvPr id="25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86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rchitecture</a:t>
            </a:r>
            <a:r>
              <a:rPr lang="cs-CZ" dirty="0" smtClean="0"/>
              <a:t> model v2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6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490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ployment</a:t>
            </a:r>
            <a:r>
              <a:rPr lang="cs-CZ" dirty="0" smtClean="0"/>
              <a:t> model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7</a:t>
            </a:r>
            <a:endParaRPr lang="cs-CZ" sz="2400" dirty="0"/>
          </a:p>
        </p:txBody>
      </p:sp>
      <p:pic>
        <p:nvPicPr>
          <p:cNvPr id="7" name="Picture 6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941" y="2456871"/>
            <a:ext cx="6508378" cy="388063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6"/>
                </a:solidFill>
              </a:rPr>
              <a:t>Completed</a:t>
            </a:r>
            <a:endParaRPr lang="cs-CZ" sz="2000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92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pplication</a:t>
            </a:r>
            <a:r>
              <a:rPr lang="cs-CZ" dirty="0" smtClean="0"/>
              <a:t> – </a:t>
            </a:r>
            <a:r>
              <a:rPr lang="cs-CZ" dirty="0" err="1" smtClean="0"/>
              <a:t>Acceptance</a:t>
            </a:r>
            <a:r>
              <a:rPr lang="cs-CZ" dirty="0" smtClean="0"/>
              <a:t> +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1800000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9</a:t>
            </a:r>
            <a:endParaRPr lang="cs-CZ" sz="2400" dirty="0"/>
          </a:p>
        </p:txBody>
      </p:sp>
      <p:sp>
        <p:nvSpPr>
          <p:cNvPr id="7" name="clipart_tick"/>
          <p:cNvSpPr>
            <a:spLocks/>
          </p:cNvSpPr>
          <p:nvPr/>
        </p:nvSpPr>
        <p:spPr bwMode="gray">
          <a:xfrm>
            <a:off x="3192910" y="1209060"/>
            <a:ext cx="572267" cy="616807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7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tangle 8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1" name="Isosceles Triangle 10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Rectangle 11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Accepted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urren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result</a:t>
            </a:r>
            <a:r>
              <a:rPr lang="cs-CZ" sz="2400" dirty="0" smtClean="0">
                <a:solidFill>
                  <a:schemeClr val="tx1"/>
                </a:solidFill>
              </a:rPr>
              <a:t>, </a:t>
            </a:r>
            <a:r>
              <a:rPr lang="cs-CZ" sz="2400" dirty="0" err="1" smtClean="0">
                <a:solidFill>
                  <a:schemeClr val="tx1"/>
                </a:solidFill>
              </a:rPr>
              <a:t>nex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steps</a:t>
            </a:r>
            <a:r>
              <a:rPr lang="cs-CZ" sz="2400" dirty="0" smtClean="0">
                <a:solidFill>
                  <a:schemeClr val="tx1"/>
                </a:solidFill>
              </a:rPr>
              <a:t> TBD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1"/>
                </a:solidFill>
              </a:rPr>
              <a:t>Change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of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scope</a:t>
            </a:r>
            <a:endParaRPr lang="cs-CZ" sz="20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97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usiness </a:t>
            </a:r>
            <a:r>
              <a:rPr lang="cs-CZ" dirty="0" err="1" smtClean="0"/>
              <a:t>processes</a:t>
            </a:r>
            <a:r>
              <a:rPr lang="cs-CZ" dirty="0" smtClean="0"/>
              <a:t>; GUI;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strategy</a:t>
            </a:r>
            <a:r>
              <a:rPr lang="cs-CZ" dirty="0" smtClean="0"/>
              <a:t>:</a:t>
            </a:r>
            <a:br>
              <a:rPr lang="cs-CZ" dirty="0" smtClean="0"/>
            </a:br>
            <a:r>
              <a:rPr lang="cs-CZ" dirty="0" err="1" smtClean="0"/>
              <a:t>Out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project</a:t>
            </a:r>
            <a:r>
              <a:rPr lang="cs-CZ" dirty="0" smtClean="0"/>
              <a:t> </a:t>
            </a:r>
            <a:r>
              <a:rPr lang="cs-CZ" dirty="0" err="1" smtClean="0"/>
              <a:t>scope</a:t>
            </a:r>
            <a:r>
              <a:rPr lang="cs-CZ" dirty="0" smtClean="0"/>
              <a:t>/</a:t>
            </a:r>
            <a:r>
              <a:rPr lang="cs-CZ" dirty="0" err="1" smtClean="0"/>
              <a:t>other</a:t>
            </a:r>
            <a:r>
              <a:rPr lang="cs-CZ" dirty="0" smtClean="0"/>
              <a:t> </a:t>
            </a:r>
            <a:r>
              <a:rPr lang="cs-CZ" dirty="0" err="1" smtClean="0"/>
              <a:t>solution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640483" y="2230304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1</a:t>
            </a:r>
            <a:endParaRPr lang="cs-CZ" sz="2400" dirty="0"/>
          </a:p>
        </p:txBody>
      </p:sp>
      <p:sp>
        <p:nvSpPr>
          <p:cNvPr id="7" name="Oval 6"/>
          <p:cNvSpPr/>
          <p:nvPr/>
        </p:nvSpPr>
        <p:spPr>
          <a:xfrm>
            <a:off x="160625" y="2230304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10</a:t>
            </a:r>
            <a:endParaRPr lang="cs-CZ" sz="2400" dirty="0"/>
          </a:p>
        </p:txBody>
      </p:sp>
      <p:sp>
        <p:nvSpPr>
          <p:cNvPr id="10" name="Oval 9"/>
          <p:cNvSpPr/>
          <p:nvPr/>
        </p:nvSpPr>
        <p:spPr>
          <a:xfrm>
            <a:off x="640483" y="1740125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8</a:t>
            </a:r>
            <a:endParaRPr lang="cs-CZ" sz="2400" dirty="0"/>
          </a:p>
        </p:txBody>
      </p:sp>
      <p:sp>
        <p:nvSpPr>
          <p:cNvPr id="11" name="Oval 10"/>
          <p:cNvSpPr/>
          <p:nvPr/>
        </p:nvSpPr>
        <p:spPr>
          <a:xfrm>
            <a:off x="160625" y="1740125"/>
            <a:ext cx="439517" cy="439517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400" dirty="0" smtClean="0"/>
              <a:t>5</a:t>
            </a:r>
            <a:endParaRPr lang="cs-CZ" sz="2400" dirty="0"/>
          </a:p>
        </p:txBody>
      </p:sp>
      <p:grpSp>
        <p:nvGrpSpPr>
          <p:cNvPr id="9" name="Group 8"/>
          <p:cNvGrpSpPr/>
          <p:nvPr/>
        </p:nvGrpSpPr>
        <p:grpSpPr>
          <a:xfrm>
            <a:off x="736600" y="3199938"/>
            <a:ext cx="3458882" cy="1800882"/>
            <a:chOff x="736600" y="2343967"/>
            <a:chExt cx="7556500" cy="3934324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7"/>
            <a:srcRect r="3783"/>
            <a:stretch/>
          </p:blipFill>
          <p:spPr>
            <a:xfrm>
              <a:off x="892175" y="2343967"/>
              <a:ext cx="7197725" cy="3903890"/>
            </a:xfrm>
            <a:prstGeom prst="rect">
              <a:avLst/>
            </a:prstGeom>
            <a:ln>
              <a:solidFill>
                <a:schemeClr val="accent3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Rectangle 12"/>
            <p:cNvSpPr/>
            <p:nvPr/>
          </p:nvSpPr>
          <p:spPr>
            <a:xfrm>
              <a:off x="736600" y="5588000"/>
              <a:ext cx="7556500" cy="690291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5020778" y="3091607"/>
            <a:ext cx="3754066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smtClean="0">
                <a:solidFill>
                  <a:schemeClr val="tx1"/>
                </a:solidFill>
              </a:rPr>
              <a:t>Not </a:t>
            </a:r>
            <a:r>
              <a:rPr lang="cs-CZ" sz="2400" dirty="0" err="1" smtClean="0">
                <a:solidFill>
                  <a:schemeClr val="tx1"/>
                </a:solidFill>
              </a:rPr>
              <a:t>relevant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for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project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(</a:t>
            </a:r>
            <a:r>
              <a:rPr lang="cs-CZ" sz="2400" dirty="0" err="1" smtClean="0">
                <a:solidFill>
                  <a:schemeClr val="tx1"/>
                </a:solidFill>
              </a:rPr>
              <a:t>accepted</a:t>
            </a:r>
            <a:r>
              <a:rPr lang="cs-CZ" sz="2400" dirty="0" smtClean="0">
                <a:solidFill>
                  <a:schemeClr val="tx1"/>
                </a:solidFill>
              </a:rPr>
              <a:t>)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15" name="Isosceles Triangle 14"/>
          <p:cNvSpPr/>
          <p:nvPr/>
        </p:nvSpPr>
        <p:spPr>
          <a:xfrm rot="16200000" flipV="1">
            <a:off x="3334870" y="4047566"/>
            <a:ext cx="2850776" cy="32272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3204119" y="1191953"/>
            <a:ext cx="534164" cy="665649"/>
            <a:chOff x="2748" y="1996"/>
            <a:chExt cx="260" cy="324"/>
          </a:xfrm>
          <a:solidFill>
            <a:schemeClr val="accent1"/>
          </a:solidFill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20" name="Title 4"/>
          <p:cNvSpPr txBox="1">
            <a:spLocks/>
          </p:cNvSpPr>
          <p:nvPr/>
        </p:nvSpPr>
        <p:spPr>
          <a:xfrm>
            <a:off x="3568237" y="1468685"/>
            <a:ext cx="3410788" cy="35718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err="1" smtClean="0">
                <a:solidFill>
                  <a:schemeClr val="accent1"/>
                </a:solidFill>
              </a:rPr>
              <a:t>Out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of</a:t>
            </a:r>
            <a:r>
              <a:rPr lang="cs-CZ" sz="2000" i="1" dirty="0" smtClean="0">
                <a:solidFill>
                  <a:schemeClr val="accent1"/>
                </a:solidFill>
              </a:rPr>
              <a:t> </a:t>
            </a:r>
            <a:r>
              <a:rPr lang="cs-CZ" sz="2000" i="1" dirty="0" err="1" smtClean="0">
                <a:solidFill>
                  <a:schemeClr val="accent1"/>
                </a:solidFill>
              </a:rPr>
              <a:t>scope</a:t>
            </a:r>
            <a:endParaRPr lang="cs-CZ" sz="20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89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Presentation</a:t>
            </a:r>
            <a:r>
              <a:rPr lang="cs-CZ" dirty="0" smtClean="0"/>
              <a:t> agenda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r>
              <a:rPr lang="cs-CZ" dirty="0" smtClean="0"/>
              <a:t> - </a:t>
            </a:r>
            <a:r>
              <a:rPr lang="cs-CZ" dirty="0" err="1" smtClean="0"/>
              <a:t>expectation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50191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plan</a:t>
            </a:r>
            <a:r>
              <a:rPr lang="cs-CZ" dirty="0" smtClean="0"/>
              <a:t> - reality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8874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Analytic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hat</a:t>
            </a:r>
            <a:r>
              <a:rPr lang="cs-CZ" dirty="0"/>
              <a:t> are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ing</a:t>
            </a:r>
            <a:r>
              <a:rPr lang="cs-CZ" dirty="0"/>
              <a:t>?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First</a:t>
            </a:r>
            <a:r>
              <a:rPr lang="cs-CZ" dirty="0"/>
              <a:t> step: </a:t>
            </a:r>
            <a:r>
              <a:rPr lang="cs-CZ" dirty="0" err="1"/>
              <a:t>Rea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- </a:t>
            </a:r>
            <a:r>
              <a:rPr lang="cs-CZ" dirty="0" err="1"/>
              <a:t>success</a:t>
            </a:r>
            <a:endParaRPr lang="cs-CZ" dirty="0"/>
          </a:p>
          <a:p>
            <a:r>
              <a:rPr lang="cs-CZ" dirty="0"/>
              <a:t>Second step: </a:t>
            </a:r>
            <a:r>
              <a:rPr lang="cs-CZ" dirty="0" err="1"/>
              <a:t>Understand</a:t>
            </a:r>
            <a:r>
              <a:rPr lang="cs-CZ" dirty="0"/>
              <a:t> the </a:t>
            </a:r>
            <a:r>
              <a:rPr lang="cs-CZ" dirty="0" err="1"/>
              <a:t>documentation</a:t>
            </a:r>
            <a:r>
              <a:rPr lang="cs-CZ" dirty="0"/>
              <a:t> – </a:t>
            </a:r>
            <a:r>
              <a:rPr lang="cs-CZ" dirty="0" err="1"/>
              <a:t>failed</a:t>
            </a:r>
            <a:endParaRPr lang="cs-CZ" dirty="0"/>
          </a:p>
          <a:p>
            <a:r>
              <a:rPr lang="cs-CZ" dirty="0" err="1"/>
              <a:t>Third</a:t>
            </a:r>
            <a:r>
              <a:rPr lang="cs-CZ" dirty="0"/>
              <a:t> step: </a:t>
            </a:r>
            <a:r>
              <a:rPr lang="cs-CZ" dirty="0" err="1"/>
              <a:t>Ask</a:t>
            </a:r>
            <a:r>
              <a:rPr lang="cs-CZ" dirty="0"/>
              <a:t> </a:t>
            </a:r>
            <a:r>
              <a:rPr lang="cs-CZ" dirty="0" err="1"/>
              <a:t>Bestoun</a:t>
            </a:r>
            <a:r>
              <a:rPr lang="cs-CZ" dirty="0"/>
              <a:t> S. Ahmed - </a:t>
            </a:r>
            <a:r>
              <a:rPr lang="cs-CZ" dirty="0" err="1"/>
              <a:t>su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1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0000" y="1314588"/>
            <a:ext cx="7794000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- </a:t>
            </a:r>
            <a:r>
              <a:rPr lang="en-US" dirty="0"/>
              <a:t>Full Project View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1775656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3810704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486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80000" y="1800000"/>
            <a:ext cx="7929776" cy="1087934"/>
          </a:xfrm>
        </p:spPr>
        <p:txBody>
          <a:bodyPr/>
          <a:lstStyle/>
          <a:p>
            <a:r>
              <a:rPr lang="cs-CZ" dirty="0" err="1"/>
              <a:t>Analysis</a:t>
            </a:r>
            <a:r>
              <a:rPr lang="cs-CZ" dirty="0"/>
              <a:t> –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don‘t</a:t>
            </a:r>
            <a:r>
              <a:rPr lang="cs-CZ" dirty="0"/>
              <a:t> </a:t>
            </a:r>
            <a:r>
              <a:rPr lang="cs-CZ" dirty="0" err="1"/>
              <a:t>want</a:t>
            </a:r>
            <a:r>
              <a:rPr lang="cs-CZ" dirty="0"/>
              <a:t> to </a:t>
            </a:r>
            <a:r>
              <a:rPr lang="cs-CZ" dirty="0" err="1"/>
              <a:t>reinvent</a:t>
            </a:r>
            <a:r>
              <a:rPr lang="cs-CZ" dirty="0"/>
              <a:t> </a:t>
            </a:r>
            <a:r>
              <a:rPr lang="cs-CZ" dirty="0" err="1"/>
              <a:t>wheels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What</a:t>
            </a:r>
            <a:r>
              <a:rPr lang="cs-CZ" dirty="0"/>
              <a:t> </a:t>
            </a:r>
            <a:r>
              <a:rPr lang="cs-CZ" dirty="0" err="1"/>
              <a:t>modules</a:t>
            </a:r>
            <a:r>
              <a:rPr lang="cs-CZ" dirty="0"/>
              <a:t> </a:t>
            </a:r>
            <a:r>
              <a:rPr lang="cs-CZ" dirty="0" err="1"/>
              <a:t>can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run in C++? – </a:t>
            </a:r>
            <a:r>
              <a:rPr lang="cs-CZ" dirty="0" err="1"/>
              <a:t>None</a:t>
            </a:r>
            <a:endParaRPr lang="cs-CZ" dirty="0"/>
          </a:p>
          <a:p>
            <a:r>
              <a:rPr lang="cs-CZ" dirty="0"/>
              <a:t>Are </a:t>
            </a:r>
            <a:r>
              <a:rPr lang="cs-CZ" dirty="0" err="1"/>
              <a:t>there</a:t>
            </a:r>
            <a:r>
              <a:rPr lang="cs-CZ" dirty="0"/>
              <a:t> </a:t>
            </a:r>
            <a:r>
              <a:rPr lang="cs-CZ" dirty="0" err="1"/>
              <a:t>modules</a:t>
            </a:r>
            <a:r>
              <a:rPr lang="cs-CZ" dirty="0"/>
              <a:t> in Java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can</a:t>
            </a:r>
            <a:r>
              <a:rPr lang="cs-CZ" dirty="0"/>
              <a:t> use? – </a:t>
            </a:r>
            <a:r>
              <a:rPr lang="cs-CZ" dirty="0" err="1"/>
              <a:t>Yes</a:t>
            </a:r>
            <a:r>
              <a:rPr lang="cs-CZ" dirty="0"/>
              <a:t>, SA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8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80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9938" y="1331725"/>
            <a:ext cx="7794000" cy="1087934"/>
          </a:xfrm>
        </p:spPr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sp>
        <p:nvSpPr>
          <p:cNvPr id="58" name="TextovéPole 57"/>
          <p:cNvSpPr txBox="1"/>
          <p:nvPr/>
        </p:nvSpPr>
        <p:spPr>
          <a:xfrm>
            <a:off x="574026" y="1875691"/>
            <a:ext cx="7936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cs-CZ" dirty="0" smtClean="0"/>
              <a:t> </a:t>
            </a:r>
            <a:r>
              <a:rPr lang="cs-CZ" dirty="0" err="1" smtClean="0"/>
              <a:t>Starting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package</a:t>
            </a:r>
            <a:r>
              <a:rPr lang="cs-CZ" dirty="0" smtClean="0"/>
              <a:t> </a:t>
            </a:r>
            <a:r>
              <a:rPr lang="cs-CZ" dirty="0" err="1" smtClean="0"/>
              <a:t>with</a:t>
            </a:r>
            <a:r>
              <a:rPr lang="cs-CZ" dirty="0" smtClean="0"/>
              <a:t> least </a:t>
            </a:r>
            <a:r>
              <a:rPr lang="cs-CZ" dirty="0" err="1" smtClean="0"/>
              <a:t>dependencies</a:t>
            </a:r>
            <a:endParaRPr lang="cs-CZ" dirty="0" smtClean="0"/>
          </a:p>
          <a:p>
            <a:pPr marL="285750" indent="-285750">
              <a:buFont typeface="Wingdings" pitchFamily="2" charset="2"/>
              <a:buChar char="q"/>
            </a:pPr>
            <a:endParaRPr lang="cs-CZ" dirty="0"/>
          </a:p>
        </p:txBody>
      </p:sp>
      <p:sp>
        <p:nvSpPr>
          <p:cNvPr id="64" name="NumberBall"/>
          <p:cNvSpPr>
            <a:spLocks noChangeArrowheads="1"/>
          </p:cNvSpPr>
          <p:nvPr/>
        </p:nvSpPr>
        <p:spPr bwMode="gray">
          <a:xfrm>
            <a:off x="2690774" y="512126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5" name="NumberBall"/>
          <p:cNvSpPr>
            <a:spLocks noChangeArrowheads="1"/>
          </p:cNvSpPr>
          <p:nvPr/>
        </p:nvSpPr>
        <p:spPr bwMode="gray">
          <a:xfrm>
            <a:off x="871834" y="577724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6" name="NumberBall"/>
          <p:cNvSpPr>
            <a:spLocks noChangeArrowheads="1"/>
          </p:cNvSpPr>
          <p:nvPr/>
        </p:nvSpPr>
        <p:spPr bwMode="gray">
          <a:xfrm>
            <a:off x="4827256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7" name="NumberBall"/>
          <p:cNvSpPr>
            <a:spLocks noChangeArrowheads="1"/>
          </p:cNvSpPr>
          <p:nvPr/>
        </p:nvSpPr>
        <p:spPr bwMode="gray">
          <a:xfrm>
            <a:off x="6982899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8" name="NumberBall"/>
          <p:cNvSpPr>
            <a:spLocks noChangeArrowheads="1"/>
          </p:cNvSpPr>
          <p:nvPr/>
        </p:nvSpPr>
        <p:spPr bwMode="gray">
          <a:xfrm>
            <a:off x="6982898" y="3827148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9" name="NumberBall"/>
          <p:cNvSpPr>
            <a:spLocks noChangeArrowheads="1"/>
          </p:cNvSpPr>
          <p:nvPr/>
        </p:nvSpPr>
        <p:spPr bwMode="gray">
          <a:xfrm>
            <a:off x="6702554" y="3077305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70" name="NumberBall"/>
          <p:cNvSpPr>
            <a:spLocks noChangeArrowheads="1"/>
          </p:cNvSpPr>
          <p:nvPr/>
        </p:nvSpPr>
        <p:spPr bwMode="gray">
          <a:xfrm>
            <a:off x="4805367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1" name="NumberBall"/>
          <p:cNvSpPr>
            <a:spLocks noChangeArrowheads="1"/>
          </p:cNvSpPr>
          <p:nvPr/>
        </p:nvSpPr>
        <p:spPr bwMode="gray">
          <a:xfrm>
            <a:off x="4535489" y="307730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84" name="NumberBall"/>
          <p:cNvSpPr>
            <a:spLocks noChangeArrowheads="1"/>
          </p:cNvSpPr>
          <p:nvPr/>
        </p:nvSpPr>
        <p:spPr bwMode="gray">
          <a:xfrm>
            <a:off x="2679051" y="4469157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5" name="NumberBall"/>
          <p:cNvSpPr>
            <a:spLocks noChangeArrowheads="1"/>
          </p:cNvSpPr>
          <p:nvPr/>
        </p:nvSpPr>
        <p:spPr bwMode="gray">
          <a:xfrm>
            <a:off x="2693720" y="3822386"/>
            <a:ext cx="295275" cy="295275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9" name="NumberBall"/>
          <p:cNvSpPr>
            <a:spLocks noChangeArrowheads="1"/>
          </p:cNvSpPr>
          <p:nvPr/>
        </p:nvSpPr>
        <p:spPr bwMode="gray">
          <a:xfrm>
            <a:off x="871834" y="510794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0" name="NumberBall"/>
          <p:cNvSpPr>
            <a:spLocks noChangeArrowheads="1"/>
          </p:cNvSpPr>
          <p:nvPr/>
        </p:nvSpPr>
        <p:spPr bwMode="gray">
          <a:xfrm>
            <a:off x="867071" y="3811326"/>
            <a:ext cx="295275" cy="29527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1" name="NumberBall"/>
          <p:cNvSpPr>
            <a:spLocks noChangeArrowheads="1"/>
          </p:cNvSpPr>
          <p:nvPr/>
        </p:nvSpPr>
        <p:spPr bwMode="gray">
          <a:xfrm>
            <a:off x="867072" y="4469157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2" name="NumberBall"/>
          <p:cNvSpPr>
            <a:spLocks noChangeArrowheads="1"/>
          </p:cNvSpPr>
          <p:nvPr/>
        </p:nvSpPr>
        <p:spPr bwMode="gray">
          <a:xfrm>
            <a:off x="571796" y="3077306"/>
            <a:ext cx="295275" cy="2952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64427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84" grpId="0" animBg="1"/>
      <p:bldP spid="85" grpId="0" animBg="1"/>
      <p:bldP spid="89" grpId="0" animBg="1"/>
      <p:bldP spid="90" grpId="0" animBg="1"/>
      <p:bldP spid="91" grpId="0" animBg="1"/>
      <p:bldP spid="9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ject View</a:t>
            </a:r>
            <a:r>
              <a:rPr lang="cs-CZ" dirty="0"/>
              <a:t>: </a:t>
            </a:r>
            <a:r>
              <a:rPr lang="cs-CZ" dirty="0" err="1"/>
              <a:t>Starting</a:t>
            </a:r>
            <a:r>
              <a:rPr lang="cs-CZ" dirty="0"/>
              <a:t> point</a:t>
            </a:r>
            <a:br>
              <a:rPr lang="cs-CZ" dirty="0"/>
            </a:b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2989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ject View</a:t>
            </a:r>
            <a:r>
              <a:rPr lang="cs-CZ" dirty="0"/>
              <a:t>: </a:t>
            </a:r>
            <a:r>
              <a:rPr lang="cs-CZ" dirty="0" smtClean="0"/>
              <a:t>16.3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65897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o</a:t>
            </a:r>
            <a:r>
              <a:rPr lang="cs-CZ" dirty="0" smtClean="0"/>
              <a:t> are </a:t>
            </a:r>
            <a:r>
              <a:rPr lang="cs-CZ" dirty="0" err="1" smtClean="0"/>
              <a:t>we</a:t>
            </a:r>
            <a:r>
              <a:rPr lang="cs-CZ" dirty="0" smtClean="0"/>
              <a:t>?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96118"/>
              </p:ext>
            </p:extLst>
          </p:nvPr>
        </p:nvGraphicFramePr>
        <p:xfrm>
          <a:off x="455613" y="2345904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9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smtClean="0"/>
              <a:t>20.4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7907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smtClean="0"/>
              <a:t>4.5.2017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47446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737359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ep</a:t>
            </a:r>
            <a:r>
              <a:rPr lang="cs-CZ" dirty="0" smtClean="0">
                <a:solidFill>
                  <a:schemeClr val="bg1"/>
                </a:solidFill>
              </a:rPr>
              <a:t> Dive: </a:t>
            </a:r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14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lvl="0"/>
            <a:r>
              <a:rPr lang="en-US"/>
              <a:t>Testing</a:t>
            </a:r>
          </a:p>
        </p:txBody>
      </p:sp>
      <p:sp>
        <p:nvSpPr>
          <p:cNvPr id="3" name="Subtitle 2"/>
          <p:cNvSpPr txBox="1">
            <a:spLocks noGrp="1"/>
          </p:cNvSpPr>
          <p:nvPr>
            <p:ph type="subTitle" idx="4294967295"/>
          </p:nvPr>
        </p:nvSpPr>
        <p:spPr>
          <a:xfrm>
            <a:off x="1080000" y="2664848"/>
            <a:ext cx="7794000" cy="3708000"/>
          </a:xfrm>
        </p:spPr>
        <p:txBody>
          <a:bodyPr anchor="t">
            <a:normAutofit fontScale="92500" lnSpcReduction="20000"/>
          </a:bodyPr>
          <a:lstStyle/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cs-CZ" dirty="0" smtClean="0"/>
              <a:t>I</a:t>
            </a:r>
            <a:r>
              <a:rPr lang="en-US" dirty="0" err="1" smtClean="0"/>
              <a:t>nput</a:t>
            </a:r>
            <a:r>
              <a:rPr lang="en-US" dirty="0" smtClean="0"/>
              <a:t> </a:t>
            </a:r>
            <a:r>
              <a:rPr lang="en-US" dirty="0"/>
              <a:t>x output comparison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Unit testing for development support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b="1" dirty="0"/>
              <a:t>Complications: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Could not build system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dirty="0"/>
              <a:t>Unable to test beyond a certain degree of focus</a:t>
            </a:r>
          </a:p>
          <a:p>
            <a:pPr lvl="0" algn="l">
              <a:lnSpc>
                <a:spcPct val="120000"/>
              </a:lnSpc>
              <a:buSzPct val="45000"/>
              <a:buFont typeface="StarSymbol"/>
              <a:buChar char="●"/>
            </a:pPr>
            <a:r>
              <a:rPr lang="en-US" b="1" dirty="0"/>
              <a:t>Further testing and strategies</a:t>
            </a:r>
          </a:p>
          <a:p>
            <a:pPr marL="0" lvl="0" indent="0" algn="l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900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Final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individual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reviews</a:t>
            </a:r>
            <a:r>
              <a:rPr lang="cs-CZ" dirty="0" smtClean="0">
                <a:solidFill>
                  <a:schemeClr val="bg1"/>
                </a:solidFill>
              </a:rPr>
              <a:t>, </a:t>
            </a:r>
            <a:r>
              <a:rPr lang="cs-CZ" dirty="0" err="1" smtClean="0">
                <a:solidFill>
                  <a:schemeClr val="bg1"/>
                </a:solidFill>
              </a:rPr>
              <a:t>Lessons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learned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61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ssons</a:t>
            </a:r>
            <a:r>
              <a:rPr lang="cs-CZ" dirty="0" smtClean="0"/>
              <a:t> </a:t>
            </a:r>
            <a:r>
              <a:rPr lang="cs-CZ" dirty="0" err="1" smtClean="0"/>
              <a:t>learned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smtClean="0"/>
                <a:t>Project run </a:t>
              </a:r>
              <a:r>
                <a:rPr lang="cs-CZ" sz="2000" b="1" dirty="0" err="1" smtClean="0"/>
                <a:t>overview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Lessons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learned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individu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review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Introduction</a:t>
              </a:r>
              <a:r>
                <a:rPr lang="cs-CZ" sz="2000" b="1" dirty="0" smtClean="0"/>
                <a:t>, </a:t>
              </a:r>
              <a:r>
                <a:rPr lang="cs-CZ" sz="2000" b="1" dirty="0" err="1" smtClean="0"/>
                <a:t>wha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is</a:t>
              </a:r>
              <a:r>
                <a:rPr lang="cs-CZ" sz="2000" b="1" dirty="0" smtClean="0"/>
                <a:t> CASA?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formal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jec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output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544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Old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381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2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726" y="793924"/>
            <a:ext cx="3358274" cy="3358274"/>
          </a:xfrm>
          <a:prstGeom prst="rect">
            <a:avLst/>
          </a:prstGeom>
        </p:spPr>
      </p:pic>
      <p:sp>
        <p:nvSpPr>
          <p:cNvPr id="7" name="Title 4"/>
          <p:cNvSpPr txBox="1">
            <a:spLocks/>
          </p:cNvSpPr>
          <p:nvPr/>
        </p:nvSpPr>
        <p:spPr>
          <a:xfrm>
            <a:off x="3667018" y="2569866"/>
            <a:ext cx="5240117" cy="10879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2800" baseline="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Dr. </a:t>
            </a:r>
            <a:r>
              <a:rPr lang="cs-CZ" sz="2000" i="1" dirty="0" err="1" smtClean="0">
                <a:solidFill>
                  <a:schemeClr val="bg2">
                    <a:lumMod val="25000"/>
                  </a:schemeClr>
                </a:solidFill>
              </a:rPr>
              <a:t>Bestoun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</a:rPr>
              <a:t> S. Ahmed </a:t>
            </a:r>
            <a:r>
              <a:rPr lang="cs-CZ" sz="2000" i="1" dirty="0" smtClean="0">
                <a:solidFill>
                  <a:schemeClr val="bg2">
                    <a:lumMod val="25000"/>
                  </a:schemeClr>
                </a:solidFill>
                <a:latin typeface="Wingdings 3" panose="05040102010807070707" pitchFamily="18" charset="2"/>
                <a:sym typeface="Wingdings 3" panose="05040102010807070707" pitchFamily="18" charset="2"/>
              </a:rPr>
              <a:t></a:t>
            </a:r>
            <a:endParaRPr lang="cs-CZ" sz="2000" i="1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981634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6"/>
                </a:solidFill>
              </a:rPr>
              <a:t>Yes</a:t>
            </a:r>
            <a:r>
              <a:rPr lang="cs-CZ" sz="6600" dirty="0" smtClean="0">
                <a:solidFill>
                  <a:schemeClr val="accent6"/>
                </a:solidFill>
              </a:rPr>
              <a:t>!</a:t>
            </a:r>
            <a:endParaRPr lang="cs-CZ" sz="66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0905" y="2608730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smtClean="0">
                <a:solidFill>
                  <a:schemeClr val="accent2"/>
                </a:solidFill>
              </a:rPr>
              <a:t>No!</a:t>
            </a:r>
            <a:endParaRPr lang="cs-CZ" sz="66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6611" y="4356847"/>
            <a:ext cx="3092825" cy="1546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6600" dirty="0" err="1" smtClean="0">
                <a:solidFill>
                  <a:schemeClr val="accent4"/>
                </a:solidFill>
              </a:rPr>
              <a:t>Jein</a:t>
            </a:r>
            <a:r>
              <a:rPr lang="cs-CZ" sz="6600" dirty="0" smtClean="0">
                <a:solidFill>
                  <a:schemeClr val="accent4"/>
                </a:solidFill>
              </a:rPr>
              <a:t>?!</a:t>
            </a:r>
            <a:endParaRPr lang="cs-CZ" sz="6600" dirty="0">
              <a:solidFill>
                <a:schemeClr val="accent4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flipV="1">
            <a:off x="2286000" y="4155141"/>
            <a:ext cx="4679576" cy="242047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874900" y="2887934"/>
            <a:ext cx="8204200" cy="2003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dirty="0" err="1" smtClean="0">
                <a:solidFill>
                  <a:schemeClr val="tx1"/>
                </a:solidFill>
              </a:rPr>
              <a:t>Meetings</a:t>
            </a:r>
            <a:r>
              <a:rPr lang="cs-CZ" sz="2400" dirty="0" smtClean="0">
                <a:solidFill>
                  <a:schemeClr val="tx1"/>
                </a:solidFill>
              </a:rPr>
              <a:t>: 16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teer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shop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held</a:t>
            </a:r>
            <a:r>
              <a:rPr lang="cs-CZ" sz="2400" dirty="0" smtClean="0">
                <a:solidFill>
                  <a:schemeClr val="tx1"/>
                </a:solidFill>
              </a:rPr>
              <a:t>: 5 (so far)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Documents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reated</a:t>
            </a:r>
            <a:r>
              <a:rPr lang="cs-CZ" sz="2400" dirty="0" smtClean="0">
                <a:solidFill>
                  <a:schemeClr val="tx1"/>
                </a:solidFill>
              </a:rPr>
              <a:t>: x</a:t>
            </a:r>
          </a:p>
          <a:p>
            <a:r>
              <a:rPr lang="cs-CZ" sz="2400" dirty="0" err="1" smtClean="0">
                <a:solidFill>
                  <a:schemeClr val="tx1"/>
                </a:solidFill>
              </a:rPr>
              <a:t>Spanning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over</a:t>
            </a:r>
            <a:r>
              <a:rPr lang="cs-CZ" sz="2400" dirty="0" smtClean="0">
                <a:solidFill>
                  <a:schemeClr val="tx1"/>
                </a:solidFill>
              </a:rPr>
              <a:t>: x </a:t>
            </a:r>
            <a:r>
              <a:rPr lang="cs-CZ" sz="2400" dirty="0" err="1" smtClean="0">
                <a:solidFill>
                  <a:schemeClr val="tx1"/>
                </a:solidFill>
              </a:rPr>
              <a:t>pages</a:t>
            </a:r>
            <a:endParaRPr lang="cs-CZ" sz="2400" dirty="0" smtClean="0">
              <a:solidFill>
                <a:schemeClr val="tx1"/>
              </a:solidFill>
            </a:endParaRPr>
          </a:p>
          <a:p>
            <a:r>
              <a:rPr lang="cs-CZ" sz="2400" dirty="0" smtClean="0">
                <a:solidFill>
                  <a:schemeClr val="tx1"/>
                </a:solidFill>
              </a:rPr>
              <a:t>Lines </a:t>
            </a:r>
            <a:r>
              <a:rPr lang="cs-CZ" sz="2400" dirty="0" err="1" smtClean="0">
                <a:solidFill>
                  <a:schemeClr val="tx1"/>
                </a:solidFill>
              </a:rPr>
              <a:t>of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code</a:t>
            </a:r>
            <a:r>
              <a:rPr lang="cs-CZ" sz="2400" dirty="0" smtClean="0">
                <a:solidFill>
                  <a:schemeClr val="tx1"/>
                </a:solidFill>
              </a:rPr>
              <a:t> </a:t>
            </a:r>
            <a:r>
              <a:rPr lang="cs-CZ" sz="2400" dirty="0" err="1" smtClean="0">
                <a:solidFill>
                  <a:schemeClr val="tx1"/>
                </a:solidFill>
              </a:rPr>
              <a:t>worked</a:t>
            </a:r>
            <a:r>
              <a:rPr lang="cs-CZ" sz="2400" dirty="0" smtClean="0">
                <a:solidFill>
                  <a:schemeClr val="tx1"/>
                </a:solidFill>
              </a:rPr>
              <a:t> on: 323 198</a:t>
            </a:r>
            <a:endParaRPr lang="cs-CZ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047" y="2427805"/>
            <a:ext cx="4428211" cy="195531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048" y="4124609"/>
            <a:ext cx="8410224" cy="21843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d </a:t>
            </a:r>
            <a:r>
              <a:rPr lang="cs-CZ" dirty="0" err="1" smtClean="0"/>
              <a:t>finally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r="3783"/>
          <a:stretch/>
        </p:blipFill>
        <p:spPr>
          <a:xfrm>
            <a:off x="892175" y="2343967"/>
            <a:ext cx="7197725" cy="3903890"/>
          </a:xfrm>
          <a:prstGeom prst="rect">
            <a:avLst/>
          </a:prstGeom>
          <a:ln>
            <a:solidFill>
              <a:schemeClr val="accent3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736600" y="5588000"/>
            <a:ext cx="7556500" cy="69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473406" y="5061135"/>
            <a:ext cx="1211744" cy="1306056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1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905189" y="2782208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</a:t>
            </a:r>
            <a:endParaRPr lang="cs-CZ" sz="1400" dirty="0"/>
          </a:p>
        </p:txBody>
      </p:sp>
      <p:sp>
        <p:nvSpPr>
          <p:cNvPr id="8" name="Oval 7"/>
          <p:cNvSpPr/>
          <p:nvPr/>
        </p:nvSpPr>
        <p:spPr>
          <a:xfrm>
            <a:off x="905189" y="3090851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2</a:t>
            </a:r>
            <a:endParaRPr lang="cs-CZ" sz="1400" dirty="0"/>
          </a:p>
        </p:txBody>
      </p:sp>
      <p:sp>
        <p:nvSpPr>
          <p:cNvPr id="9" name="Oval 8"/>
          <p:cNvSpPr/>
          <p:nvPr/>
        </p:nvSpPr>
        <p:spPr>
          <a:xfrm>
            <a:off x="905189" y="3399494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3</a:t>
            </a:r>
            <a:endParaRPr lang="cs-CZ" sz="1400" dirty="0"/>
          </a:p>
        </p:txBody>
      </p:sp>
      <p:sp>
        <p:nvSpPr>
          <p:cNvPr id="10" name="Oval 9"/>
          <p:cNvSpPr/>
          <p:nvPr/>
        </p:nvSpPr>
        <p:spPr>
          <a:xfrm>
            <a:off x="905189" y="3708137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4</a:t>
            </a:r>
            <a:endParaRPr lang="cs-CZ" sz="1400" dirty="0"/>
          </a:p>
        </p:txBody>
      </p:sp>
      <p:sp>
        <p:nvSpPr>
          <p:cNvPr id="11" name="Oval 10"/>
          <p:cNvSpPr/>
          <p:nvPr/>
        </p:nvSpPr>
        <p:spPr>
          <a:xfrm>
            <a:off x="905189" y="4016780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5</a:t>
            </a:r>
            <a:endParaRPr lang="cs-CZ" sz="1400" dirty="0"/>
          </a:p>
        </p:txBody>
      </p:sp>
      <p:sp>
        <p:nvSpPr>
          <p:cNvPr id="12" name="Oval 11"/>
          <p:cNvSpPr/>
          <p:nvPr/>
        </p:nvSpPr>
        <p:spPr>
          <a:xfrm>
            <a:off x="905189" y="4325423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6</a:t>
            </a:r>
            <a:endParaRPr lang="cs-CZ" sz="1400" dirty="0"/>
          </a:p>
        </p:txBody>
      </p:sp>
      <p:sp>
        <p:nvSpPr>
          <p:cNvPr id="13" name="Oval 12"/>
          <p:cNvSpPr/>
          <p:nvPr/>
        </p:nvSpPr>
        <p:spPr>
          <a:xfrm>
            <a:off x="905189" y="463406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7</a:t>
            </a:r>
            <a:endParaRPr lang="cs-CZ" sz="1400" dirty="0"/>
          </a:p>
        </p:txBody>
      </p:sp>
      <p:sp>
        <p:nvSpPr>
          <p:cNvPr id="14" name="Oval 13"/>
          <p:cNvSpPr/>
          <p:nvPr/>
        </p:nvSpPr>
        <p:spPr>
          <a:xfrm>
            <a:off x="905189" y="4942709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8</a:t>
            </a:r>
            <a:endParaRPr lang="cs-CZ" sz="1400" dirty="0"/>
          </a:p>
        </p:txBody>
      </p:sp>
      <p:sp>
        <p:nvSpPr>
          <p:cNvPr id="15" name="Oval 14"/>
          <p:cNvSpPr/>
          <p:nvPr/>
        </p:nvSpPr>
        <p:spPr>
          <a:xfrm>
            <a:off x="905189" y="5251352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9</a:t>
            </a:r>
            <a:endParaRPr lang="cs-CZ" sz="1400" dirty="0"/>
          </a:p>
        </p:txBody>
      </p:sp>
      <p:sp>
        <p:nvSpPr>
          <p:cNvPr id="16" name="Oval 15"/>
          <p:cNvSpPr/>
          <p:nvPr/>
        </p:nvSpPr>
        <p:spPr>
          <a:xfrm>
            <a:off x="905189" y="5559995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0</a:t>
            </a:r>
            <a:endParaRPr lang="cs-CZ" sz="1400" dirty="0"/>
          </a:p>
        </p:txBody>
      </p:sp>
      <p:sp>
        <p:nvSpPr>
          <p:cNvPr id="17" name="Oval 16"/>
          <p:cNvSpPr/>
          <p:nvPr/>
        </p:nvSpPr>
        <p:spPr>
          <a:xfrm>
            <a:off x="905189" y="5868636"/>
            <a:ext cx="252000" cy="252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1400" dirty="0" smtClean="0"/>
              <a:t>11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519</TotalTime>
  <Words>896</Words>
  <Application>Microsoft Office PowerPoint</Application>
  <PresentationFormat>On-screen Show (4:3)</PresentationFormat>
  <Paragraphs>478</Paragraphs>
  <Slides>4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6" baseType="lpstr">
      <vt:lpstr>Wingdings 3</vt:lpstr>
      <vt:lpstr>Calibri</vt:lpstr>
      <vt:lpstr>Wingdings</vt:lpstr>
      <vt:lpstr>Technika</vt:lpstr>
      <vt:lpstr>StarSymbol</vt:lpstr>
      <vt:lpstr>Arial</vt:lpstr>
      <vt:lpstr>Technika-Bold</vt:lpstr>
      <vt:lpstr>PowerPoint_CS</vt:lpstr>
      <vt:lpstr>think-cell Slide</vt:lpstr>
      <vt:lpstr>Project CASA: Final Project Presentation</vt:lpstr>
      <vt:lpstr>Presentation agenda</vt:lpstr>
      <vt:lpstr>Who are we?</vt:lpstr>
      <vt:lpstr>What is CASA?</vt:lpstr>
      <vt:lpstr>So… Is CASA a success?</vt:lpstr>
      <vt:lpstr>Why?</vt:lpstr>
      <vt:lpstr>Also why?</vt:lpstr>
      <vt:lpstr>And finally…</vt:lpstr>
      <vt:lpstr>Let‘s take a look at the official rules though:</vt:lpstr>
      <vt:lpstr>Let‘s take a look at the official rules though:</vt:lpstr>
      <vt:lpstr>Project plan</vt:lpstr>
      <vt:lpstr>Risk log</vt:lpstr>
      <vt:lpstr>Detailed requirements specification</vt:lpstr>
      <vt:lpstr>Use case specification</vt:lpstr>
      <vt:lpstr>Architecture model v1</vt:lpstr>
      <vt:lpstr>Architecture model v2</vt:lpstr>
      <vt:lpstr>Deployment model</vt:lpstr>
      <vt:lpstr>Application – Acceptance + Change of scope</vt:lpstr>
      <vt:lpstr>Business processes; GUI; Testing strategy: Out of project scope/other solution</vt:lpstr>
      <vt:lpstr>Project plan - expectation</vt:lpstr>
      <vt:lpstr>Project plan - reality</vt:lpstr>
      <vt:lpstr>Deep Dive: Analytics</vt:lpstr>
      <vt:lpstr>Analysis – What are we doing?</vt:lpstr>
      <vt:lpstr>Analysis - Full Project View</vt:lpstr>
      <vt:lpstr>Analysis – We don‘t want to reinvent wheels.</vt:lpstr>
      <vt:lpstr>Deep Dive: Development</vt:lpstr>
      <vt:lpstr>Development progress</vt:lpstr>
      <vt:lpstr>Full Project View: Starting point </vt:lpstr>
      <vt:lpstr>Full Project View: 16.3.2017</vt:lpstr>
      <vt:lpstr>Full Project View: 20.4.2017</vt:lpstr>
      <vt:lpstr>Full Project View: 4.5.2017</vt:lpstr>
      <vt:lpstr>Full Project View: Current status</vt:lpstr>
      <vt:lpstr>Deep Dive: Testing</vt:lpstr>
      <vt:lpstr>Testing</vt:lpstr>
      <vt:lpstr>Final individual reviews, Lessons learned</vt:lpstr>
      <vt:lpstr>Lessons learned</vt:lpstr>
      <vt:lpstr>Old slides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42</cp:revision>
  <cp:lastPrinted>2017-03-01T18:10:55Z</cp:lastPrinted>
  <dcterms:created xsi:type="dcterms:W3CDTF">2016-12-15T15:45:09Z</dcterms:created>
  <dcterms:modified xsi:type="dcterms:W3CDTF">2017-05-25T13:31:40Z</dcterms:modified>
</cp:coreProperties>
</file>